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21_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3" r:id="rId12"/>
  </p:sldMasterIdLst>
  <p:notesMasterIdLst>
    <p:notesMasterId r:id="rId14"/>
  </p:notesMasterIdLst>
  <p:sldIdLst>
    <p:sldId id="289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Exo Light" panose="020B0604020202020204" charset="0"/>
      <p:regular r:id="rId19"/>
      <p:bold r:id="rId20"/>
      <p:italic r:id="rId21"/>
      <p:boldItalic r:id="rId22"/>
    </p:embeddedFont>
    <p:embeddedFont>
      <p:font typeface="Exo SemiBold" panose="020B0604020202020204" charset="0"/>
      <p:regular r:id="rId23"/>
      <p:bold r:id="rId24"/>
      <p:italic r:id="rId25"/>
      <p:boldItalic r:id="rId26"/>
    </p:embeddedFont>
    <p:embeddedFont>
      <p:font typeface="Nunito Light" pitchFamily="2" charset="0"/>
      <p:regular r:id="rId27"/>
      <p:italic r:id="rId28"/>
    </p:embeddedFont>
    <p:embeddedFont>
      <p:font typeface="Playfair Display SemiBold" panose="020B0604020202020204" charset="0"/>
      <p:regular r:id="rId29"/>
      <p:bold r:id="rId30"/>
      <p:italic r:id="rId31"/>
      <p:boldItalic r:id="rId3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21" Type="http://schemas.openxmlformats.org/officeDocument/2006/relationships/font" Target="fonts/font7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comments/modernComment_121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E67A17A-EEBD-40E6-BBB5-357A6BE4C25A}" authorId="{EC28B4B0-6701-2EAD-4AFD-41CFFF8EDE08}" created="2025-05-27T21:30:32.727">
    <pc:sldMkLst xmlns:pc="http://schemas.microsoft.com/office/powerpoint/2013/main/command">
      <pc:docMk/>
      <pc:sldMk cId="0" sldId="289"/>
    </pc:sldMkLst>
    <p188:txBody>
      <a:bodyPr/>
      <a:lstStyle/>
      <a:p>
        <a:r>
          <a:rPr lang="en-US"/>
          <a:t>Remove subtitl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1" name="Google Shape;3311;g10b0713df1b_0_11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12" name="Google Shape;3312;g10b0713df1b_0_11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32663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4346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781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 Summary">
  <p:cSld name="20 Summary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/>
          <p:nvPr/>
        </p:nvSpPr>
        <p:spPr>
          <a:xfrm rot="10800000">
            <a:off x="5158500" y="-30925"/>
            <a:ext cx="3985500" cy="6579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981CBC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13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53" name="Google Shape;53;p1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047784" y="4763867"/>
            <a:ext cx="628648" cy="92425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Google Shape;54;p13"/>
          <p:cNvSpPr txBox="1"/>
          <p:nvPr/>
        </p:nvSpPr>
        <p:spPr>
          <a:xfrm>
            <a:off x="457200" y="1342650"/>
            <a:ext cx="2396100" cy="1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The Challenge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5" name="Google Shape;55;p13"/>
          <p:cNvSpPr txBox="1"/>
          <p:nvPr/>
        </p:nvSpPr>
        <p:spPr>
          <a:xfrm>
            <a:off x="3041171" y="1342650"/>
            <a:ext cx="2613900" cy="1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What We Did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6" name="Google Shape;56;p13"/>
          <p:cNvSpPr txBox="1"/>
          <p:nvPr/>
        </p:nvSpPr>
        <p:spPr>
          <a:xfrm>
            <a:off x="457200" y="2896800"/>
            <a:ext cx="2094000" cy="18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Outcomes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7" name="Google Shape;57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13"/>
          <p:cNvSpPr/>
          <p:nvPr/>
        </p:nvSpPr>
        <p:spPr>
          <a:xfrm>
            <a:off x="199775" y="137100"/>
            <a:ext cx="1937700" cy="183000"/>
          </a:xfrm>
          <a:prstGeom prst="roundRect">
            <a:avLst>
              <a:gd name="adj" fmla="val 16667"/>
            </a:avLst>
          </a:prstGeom>
          <a:solidFill>
            <a:srgbClr val="E90A6D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b="1">
              <a:solidFill>
                <a:srgbClr val="FFFFFF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311700" y="790275"/>
            <a:ext cx="83649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subTitle" idx="2"/>
          </p:nvPr>
        </p:nvSpPr>
        <p:spPr>
          <a:xfrm>
            <a:off x="199775" y="60750"/>
            <a:ext cx="19377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1" name="Google Shape;61;p13"/>
          <p:cNvSpPr txBox="1">
            <a:spLocks noGrp="1"/>
          </p:cNvSpPr>
          <p:nvPr>
            <p:ph type="title" idx="3"/>
          </p:nvPr>
        </p:nvSpPr>
        <p:spPr>
          <a:xfrm>
            <a:off x="345775" y="3817050"/>
            <a:ext cx="4717800" cy="705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62" name="Google Shape;62;p13"/>
          <p:cNvSpPr txBox="1">
            <a:spLocks noGrp="1"/>
          </p:cNvSpPr>
          <p:nvPr>
            <p:ph type="subTitle" idx="4"/>
          </p:nvPr>
        </p:nvSpPr>
        <p:spPr>
          <a:xfrm>
            <a:off x="394475" y="4502375"/>
            <a:ext cx="46692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Exo Light"/>
              <a:buNone/>
              <a:defRPr sz="800" i="1"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body" idx="5"/>
          </p:nvPr>
        </p:nvSpPr>
        <p:spPr>
          <a:xfrm>
            <a:off x="457200" y="1519800"/>
            <a:ext cx="2224500" cy="132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body" idx="6"/>
          </p:nvPr>
        </p:nvSpPr>
        <p:spPr>
          <a:xfrm>
            <a:off x="2950675" y="1519800"/>
            <a:ext cx="2162700" cy="132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7"/>
          </p:nvPr>
        </p:nvSpPr>
        <p:spPr>
          <a:xfrm>
            <a:off x="457200" y="3070700"/>
            <a:ext cx="4606500" cy="78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52074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.2 Half multi column 6">
  <p:cSld name="21.2 Half multi column 6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4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68" name="Google Shape;68;p1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047784" y="4763867"/>
            <a:ext cx="628648" cy="92425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Google Shape;69;p14"/>
          <p:cNvSpPr/>
          <p:nvPr/>
        </p:nvSpPr>
        <p:spPr>
          <a:xfrm>
            <a:off x="47735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p14"/>
          <p:cNvSpPr/>
          <p:nvPr/>
        </p:nvSpPr>
        <p:spPr>
          <a:xfrm>
            <a:off x="47735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14"/>
          <p:cNvSpPr/>
          <p:nvPr/>
        </p:nvSpPr>
        <p:spPr>
          <a:xfrm>
            <a:off x="330210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72;p14"/>
          <p:cNvSpPr/>
          <p:nvPr/>
        </p:nvSpPr>
        <p:spPr>
          <a:xfrm>
            <a:off x="612685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73;p14"/>
          <p:cNvSpPr/>
          <p:nvPr/>
        </p:nvSpPr>
        <p:spPr>
          <a:xfrm>
            <a:off x="330210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14"/>
          <p:cNvSpPr/>
          <p:nvPr/>
        </p:nvSpPr>
        <p:spPr>
          <a:xfrm>
            <a:off x="612685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75;p14"/>
          <p:cNvSpPr txBox="1">
            <a:spLocks noGrp="1"/>
          </p:cNvSpPr>
          <p:nvPr>
            <p:ph type="subTitle" idx="1"/>
          </p:nvPr>
        </p:nvSpPr>
        <p:spPr>
          <a:xfrm>
            <a:off x="528725" y="13541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14"/>
          <p:cNvSpPr txBox="1">
            <a:spLocks noGrp="1"/>
          </p:cNvSpPr>
          <p:nvPr>
            <p:ph type="subTitle" idx="2"/>
          </p:nvPr>
        </p:nvSpPr>
        <p:spPr>
          <a:xfrm>
            <a:off x="528650" y="20915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7" name="Google Shape;77;p14"/>
          <p:cNvSpPr txBox="1">
            <a:spLocks noGrp="1"/>
          </p:cNvSpPr>
          <p:nvPr>
            <p:ph type="subTitle" idx="3"/>
          </p:nvPr>
        </p:nvSpPr>
        <p:spPr>
          <a:xfrm>
            <a:off x="528650" y="15065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8" name="Google Shape;78;p14"/>
          <p:cNvSpPr txBox="1">
            <a:spLocks noGrp="1"/>
          </p:cNvSpPr>
          <p:nvPr>
            <p:ph type="subTitle" idx="4"/>
          </p:nvPr>
        </p:nvSpPr>
        <p:spPr>
          <a:xfrm>
            <a:off x="528650" y="288982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4"/>
          <p:cNvSpPr txBox="1">
            <a:spLocks noGrp="1"/>
          </p:cNvSpPr>
          <p:nvPr>
            <p:ph type="subTitle" idx="5"/>
          </p:nvPr>
        </p:nvSpPr>
        <p:spPr>
          <a:xfrm>
            <a:off x="528575" y="362723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0" name="Google Shape;80;p14"/>
          <p:cNvSpPr txBox="1">
            <a:spLocks noGrp="1"/>
          </p:cNvSpPr>
          <p:nvPr>
            <p:ph type="subTitle" idx="6"/>
          </p:nvPr>
        </p:nvSpPr>
        <p:spPr>
          <a:xfrm>
            <a:off x="528575" y="304222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14"/>
          <p:cNvSpPr txBox="1">
            <a:spLocks noGrp="1"/>
          </p:cNvSpPr>
          <p:nvPr>
            <p:ph type="subTitle" idx="7"/>
          </p:nvPr>
        </p:nvSpPr>
        <p:spPr>
          <a:xfrm>
            <a:off x="3353400" y="13541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2" name="Google Shape;82;p14"/>
          <p:cNvSpPr txBox="1">
            <a:spLocks noGrp="1"/>
          </p:cNvSpPr>
          <p:nvPr>
            <p:ph type="subTitle" idx="8"/>
          </p:nvPr>
        </p:nvSpPr>
        <p:spPr>
          <a:xfrm>
            <a:off x="3353325" y="20915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14"/>
          <p:cNvSpPr txBox="1">
            <a:spLocks noGrp="1"/>
          </p:cNvSpPr>
          <p:nvPr>
            <p:ph type="subTitle" idx="9"/>
          </p:nvPr>
        </p:nvSpPr>
        <p:spPr>
          <a:xfrm>
            <a:off x="3353325" y="15065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14"/>
          <p:cNvSpPr txBox="1">
            <a:spLocks noGrp="1"/>
          </p:cNvSpPr>
          <p:nvPr>
            <p:ph type="subTitle" idx="13"/>
          </p:nvPr>
        </p:nvSpPr>
        <p:spPr>
          <a:xfrm>
            <a:off x="3353325" y="288982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5" name="Google Shape;85;p14"/>
          <p:cNvSpPr txBox="1">
            <a:spLocks noGrp="1"/>
          </p:cNvSpPr>
          <p:nvPr>
            <p:ph type="subTitle" idx="14"/>
          </p:nvPr>
        </p:nvSpPr>
        <p:spPr>
          <a:xfrm>
            <a:off x="3353250" y="362723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6" name="Google Shape;86;p14"/>
          <p:cNvSpPr txBox="1">
            <a:spLocks noGrp="1"/>
          </p:cNvSpPr>
          <p:nvPr>
            <p:ph type="subTitle" idx="15"/>
          </p:nvPr>
        </p:nvSpPr>
        <p:spPr>
          <a:xfrm>
            <a:off x="3353250" y="304222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14"/>
          <p:cNvSpPr txBox="1">
            <a:spLocks noGrp="1"/>
          </p:cNvSpPr>
          <p:nvPr>
            <p:ph type="subTitle" idx="16"/>
          </p:nvPr>
        </p:nvSpPr>
        <p:spPr>
          <a:xfrm>
            <a:off x="6178150" y="131547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8" name="Google Shape;88;p14"/>
          <p:cNvSpPr txBox="1">
            <a:spLocks noGrp="1"/>
          </p:cNvSpPr>
          <p:nvPr>
            <p:ph type="subTitle" idx="17"/>
          </p:nvPr>
        </p:nvSpPr>
        <p:spPr>
          <a:xfrm>
            <a:off x="6178075" y="205288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9" name="Google Shape;89;p14"/>
          <p:cNvSpPr txBox="1">
            <a:spLocks noGrp="1"/>
          </p:cNvSpPr>
          <p:nvPr>
            <p:ph type="subTitle" idx="18"/>
          </p:nvPr>
        </p:nvSpPr>
        <p:spPr>
          <a:xfrm>
            <a:off x="6178075" y="146787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0" name="Google Shape;90;p14"/>
          <p:cNvSpPr txBox="1">
            <a:spLocks noGrp="1"/>
          </p:cNvSpPr>
          <p:nvPr>
            <p:ph type="subTitle" idx="19"/>
          </p:nvPr>
        </p:nvSpPr>
        <p:spPr>
          <a:xfrm>
            <a:off x="6178075" y="28512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1" name="Google Shape;91;p14"/>
          <p:cNvSpPr txBox="1">
            <a:spLocks noGrp="1"/>
          </p:cNvSpPr>
          <p:nvPr>
            <p:ph type="subTitle" idx="20"/>
          </p:nvPr>
        </p:nvSpPr>
        <p:spPr>
          <a:xfrm>
            <a:off x="6178000" y="35886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2" name="Google Shape;92;p14"/>
          <p:cNvSpPr txBox="1">
            <a:spLocks noGrp="1"/>
          </p:cNvSpPr>
          <p:nvPr>
            <p:ph type="subTitle" idx="21"/>
          </p:nvPr>
        </p:nvSpPr>
        <p:spPr>
          <a:xfrm>
            <a:off x="6178000" y="30036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69345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2 Single Column A">
  <p:cSld name="2.2 Single Column A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5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95" name="Google Shape;95;p15"/>
          <p:cNvSpPr txBox="1">
            <a:spLocks noGrp="1"/>
          </p:cNvSpPr>
          <p:nvPr>
            <p:ph type="subTitle" idx="1"/>
          </p:nvPr>
        </p:nvSpPr>
        <p:spPr>
          <a:xfrm>
            <a:off x="457200" y="136950"/>
            <a:ext cx="4861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96" name="Google Shape;96;p15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15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15"/>
          <p:cNvSpPr txBox="1">
            <a:spLocks noGrp="1"/>
          </p:cNvSpPr>
          <p:nvPr>
            <p:ph type="body" idx="2"/>
          </p:nvPr>
        </p:nvSpPr>
        <p:spPr>
          <a:xfrm>
            <a:off x="457200" y="841738"/>
            <a:ext cx="8219400" cy="369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9" name="Google Shape;99;p1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15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1pPr>
            <a:lvl2pPr lvl="1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2pPr>
            <a:lvl3pPr lvl="2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3pPr>
            <a:lvl4pPr lvl="3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4pPr>
            <a:lvl5pPr lvl="4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5pPr>
            <a:lvl6pPr lvl="5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6pPr>
            <a:lvl7pPr lvl="6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7pPr>
            <a:lvl8pPr lvl="7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8pPr>
            <a:lvl9pPr lvl="8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4554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A7B17"/>
          </p15:clr>
        </p15:guide>
        <p15:guide id="2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.2 Quarter Slide 1">
  <p:cSld name="16.2 Quarter Slide 1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6"/>
          <p:cNvSpPr/>
          <p:nvPr/>
        </p:nvSpPr>
        <p:spPr>
          <a:xfrm rot="5400000">
            <a:off x="-1124012" y="1016438"/>
            <a:ext cx="5226875" cy="3117150"/>
          </a:xfrm>
          <a:prstGeom prst="flowChartManualInput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16"/>
          <p:cNvSpPr txBox="1">
            <a:spLocks noGrp="1"/>
          </p:cNvSpPr>
          <p:nvPr>
            <p:ph type="title"/>
          </p:nvPr>
        </p:nvSpPr>
        <p:spPr>
          <a:xfrm>
            <a:off x="457200" y="2459150"/>
            <a:ext cx="17769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Playfair Display SemiBold"/>
              <a:buNone/>
              <a:defRPr sz="1800">
                <a:solidFill>
                  <a:schemeClr val="lt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16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105" name="Google Shape;105;p1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16"/>
          <p:cNvSpPr txBox="1">
            <a:spLocks noGrp="1"/>
          </p:cNvSpPr>
          <p:nvPr>
            <p:ph type="subTitle" idx="1"/>
          </p:nvPr>
        </p:nvSpPr>
        <p:spPr>
          <a:xfrm>
            <a:off x="457200" y="1962025"/>
            <a:ext cx="1888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07" name="Google Shape;107;p16"/>
          <p:cNvSpPr txBox="1">
            <a:spLocks noGrp="1"/>
          </p:cNvSpPr>
          <p:nvPr>
            <p:ph type="body" idx="2"/>
          </p:nvPr>
        </p:nvSpPr>
        <p:spPr>
          <a:xfrm>
            <a:off x="3494825" y="457200"/>
            <a:ext cx="5181600" cy="4000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98135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5">
  <p:cSld name="Title and body 5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1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1" name="Google Shape;111;p17"/>
          <p:cNvSpPr txBox="1">
            <a:spLocks noGrp="1"/>
          </p:cNvSpPr>
          <p:nvPr>
            <p:ph type="sldNum" idx="12"/>
          </p:nvPr>
        </p:nvSpPr>
        <p:spPr>
          <a:xfrm>
            <a:off x="768900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027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6">
  <p:cSld name="Title and body 6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1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5" name="Google Shape;11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0439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AND_BODY_23">
  <p:cSld name="TITLE_AND_BODY_23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1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19" name="Google Shape;119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3309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2 Single Column A 1">
  <p:cSld name="2.2 Single Column A 1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20"/>
          <p:cNvSpPr txBox="1">
            <a:spLocks noGrp="1"/>
          </p:cNvSpPr>
          <p:nvPr>
            <p:ph type="subTitle" idx="1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22" name="Google Shape;122;p20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20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0"/>
          <p:cNvSpPr txBox="1">
            <a:spLocks noGrp="1"/>
          </p:cNvSpPr>
          <p:nvPr>
            <p:ph type="body" idx="2"/>
          </p:nvPr>
        </p:nvSpPr>
        <p:spPr>
          <a:xfrm>
            <a:off x="457200" y="841738"/>
            <a:ext cx="8219400" cy="36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pic>
        <p:nvPicPr>
          <p:cNvPr id="125" name="Google Shape;125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26" name="Google Shape;126;p2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133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A7B17"/>
          </p15:clr>
        </p15:guide>
        <p15:guide id="2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50903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8">
  <p:cSld name="Title and body 8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2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30" name="Google Shape;130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1071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Double Column">
  <p:cSld name="5 Double Column"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22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33" name="Google Shape;133;p22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22"/>
          <p:cNvSpPr txBox="1">
            <a:spLocks noGrp="1"/>
          </p:cNvSpPr>
          <p:nvPr>
            <p:ph type="subTitle" idx="1"/>
          </p:nvPr>
        </p:nvSpPr>
        <p:spPr>
          <a:xfrm>
            <a:off x="457200" y="942200"/>
            <a:ext cx="8219400" cy="21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35" name="Google Shape;135;p22"/>
          <p:cNvSpPr txBox="1">
            <a:spLocks noGrp="1"/>
          </p:cNvSpPr>
          <p:nvPr>
            <p:ph type="subTitle" idx="2"/>
          </p:nvPr>
        </p:nvSpPr>
        <p:spPr>
          <a:xfrm>
            <a:off x="457200" y="136950"/>
            <a:ext cx="4861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36" name="Google Shape;136;p22"/>
          <p:cNvSpPr txBox="1">
            <a:spLocks noGrp="1"/>
          </p:cNvSpPr>
          <p:nvPr>
            <p:ph type="ctrTitle" idx="3"/>
          </p:nvPr>
        </p:nvSpPr>
        <p:spPr>
          <a:xfrm>
            <a:off x="457200" y="1294900"/>
            <a:ext cx="2354100" cy="26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300"/>
              <a:buFont typeface="Exo SemiBold"/>
              <a:buNone/>
              <a:defRPr sz="1300"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9pPr>
          </a:lstStyle>
          <a:p>
            <a:endParaRPr/>
          </a:p>
        </p:txBody>
      </p:sp>
      <p:sp>
        <p:nvSpPr>
          <p:cNvPr id="137" name="Google Shape;137;p22"/>
          <p:cNvSpPr txBox="1">
            <a:spLocks noGrp="1"/>
          </p:cNvSpPr>
          <p:nvPr>
            <p:ph type="body" idx="4"/>
          </p:nvPr>
        </p:nvSpPr>
        <p:spPr>
          <a:xfrm>
            <a:off x="462300" y="1562400"/>
            <a:ext cx="3806700" cy="289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138" name="Google Shape;138;p22"/>
          <p:cNvSpPr txBox="1">
            <a:spLocks noGrp="1"/>
          </p:cNvSpPr>
          <p:nvPr>
            <p:ph type="ctrTitle" idx="5"/>
          </p:nvPr>
        </p:nvSpPr>
        <p:spPr>
          <a:xfrm>
            <a:off x="4876800" y="1294900"/>
            <a:ext cx="2354100" cy="26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300"/>
              <a:buFont typeface="Exo SemiBold"/>
              <a:buNone/>
              <a:defRPr sz="1300"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9pPr>
          </a:lstStyle>
          <a:p>
            <a:endParaRPr/>
          </a:p>
        </p:txBody>
      </p:sp>
      <p:sp>
        <p:nvSpPr>
          <p:cNvPr id="139" name="Google Shape;139;p22"/>
          <p:cNvSpPr txBox="1">
            <a:spLocks noGrp="1"/>
          </p:cNvSpPr>
          <p:nvPr>
            <p:ph type="body" idx="6"/>
          </p:nvPr>
        </p:nvSpPr>
        <p:spPr>
          <a:xfrm>
            <a:off x="4881900" y="1562400"/>
            <a:ext cx="3806700" cy="289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140" name="Google Shape;140;p22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41" name="Google Shape;141;p2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898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pos="5472">
          <p15:clr>
            <a:srgbClr val="FA7B17"/>
          </p15:clr>
        </p15:guide>
        <p15:guide id="3" orient="horz" pos="288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le and body">
  <p:cSld name="2 Title and body"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23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23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 b="0" i="0" u="none" strike="noStrike" cap="none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45" name="Google Shape;145;p23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23"/>
          <p:cNvSpPr txBox="1">
            <a:spLocks noGrp="1"/>
          </p:cNvSpPr>
          <p:nvPr>
            <p:ph type="body" idx="1"/>
          </p:nvPr>
        </p:nvSpPr>
        <p:spPr>
          <a:xfrm>
            <a:off x="457200" y="1277900"/>
            <a:ext cx="8219400" cy="31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47" name="Google Shape;147;p23"/>
          <p:cNvSpPr txBox="1">
            <a:spLocks noGrp="1"/>
          </p:cNvSpPr>
          <p:nvPr>
            <p:ph type="subTitle" idx="2"/>
          </p:nvPr>
        </p:nvSpPr>
        <p:spPr>
          <a:xfrm>
            <a:off x="457200" y="942200"/>
            <a:ext cx="82194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48" name="Google Shape;148;p23"/>
          <p:cNvSpPr txBox="1">
            <a:spLocks noGrp="1"/>
          </p:cNvSpPr>
          <p:nvPr>
            <p:ph type="subTitle" idx="3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pic>
        <p:nvPicPr>
          <p:cNvPr id="149" name="Google Shape;14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Google Shape;150;p23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0839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orient="horz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le and body 1">
  <p:cSld name="2 Title and body 1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24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24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 b="0" i="0" u="none" strike="noStrike" cap="none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54" name="Google Shape;154;p24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" name="Google Shape;155;p24"/>
          <p:cNvSpPr txBox="1">
            <a:spLocks noGrp="1"/>
          </p:cNvSpPr>
          <p:nvPr>
            <p:ph type="body" idx="1"/>
          </p:nvPr>
        </p:nvSpPr>
        <p:spPr>
          <a:xfrm>
            <a:off x="457200" y="1277900"/>
            <a:ext cx="8219400" cy="31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56" name="Google Shape;156;p24"/>
          <p:cNvSpPr txBox="1">
            <a:spLocks noGrp="1"/>
          </p:cNvSpPr>
          <p:nvPr>
            <p:ph type="subTitle" idx="2"/>
          </p:nvPr>
        </p:nvSpPr>
        <p:spPr>
          <a:xfrm>
            <a:off x="457200" y="942200"/>
            <a:ext cx="82194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57" name="Google Shape;157;p24"/>
          <p:cNvSpPr txBox="1">
            <a:spLocks noGrp="1"/>
          </p:cNvSpPr>
          <p:nvPr>
            <p:ph type="subTitle" idx="3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pic>
        <p:nvPicPr>
          <p:cNvPr id="158" name="Google Shape;158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2267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orient="horz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2044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8632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2483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96773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73966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3669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5693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74B42D2-0F51-2C2A-DC71-6AE714F12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1990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69" imgH="469" progId="TCLayout.ActiveDocument.1">
                  <p:embed/>
                </p:oleObj>
              </mc:Choice>
              <mc:Fallback>
                <p:oleObj name="think-cell Slide" r:id="rId26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22402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21_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4" name="Google Shape;3314;p291"/>
          <p:cNvSpPr txBox="1">
            <a:spLocks noGrp="1"/>
          </p:cNvSpPr>
          <p:nvPr>
            <p:ph type="sldNum" idx="12"/>
          </p:nvPr>
        </p:nvSpPr>
        <p:spPr>
          <a:xfrm>
            <a:off x="457200" y="4740899"/>
            <a:ext cx="548700" cy="174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4B466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4B466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315" name="Google Shape;3315;p291"/>
          <p:cNvPicPr preferRelativeResize="0"/>
          <p:nvPr/>
        </p:nvPicPr>
        <p:blipFill rotWithShape="1">
          <a:blip r:embed="rId4">
            <a:alphaModFix/>
          </a:blip>
          <a:srcRect l="24196"/>
          <a:stretch/>
        </p:blipFill>
        <p:spPr>
          <a:xfrm>
            <a:off x="8041976" y="4740900"/>
            <a:ext cx="647226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316" name="Google Shape;3316;p291"/>
          <p:cNvSpPr txBox="1"/>
          <p:nvPr/>
        </p:nvSpPr>
        <p:spPr>
          <a:xfrm>
            <a:off x="417275" y="482421"/>
            <a:ext cx="73152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8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’s Core Framework</a:t>
            </a:r>
            <a:r>
              <a:rPr kumimoji="0" lang="en" sz="1800" b="0" i="0" u="none" strike="noStrike" kern="0" cap="none" spc="0" normalizeH="0" baseline="0" noProof="0">
                <a:ln>
                  <a:noFill/>
                </a:ln>
                <a:solidFill>
                  <a:srgbClr val="E90A6D"/>
                </a:solidFill>
                <a:effectLst/>
                <a:uLnTx/>
                <a:uFillTx/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E90A6D"/>
              </a:solidFill>
              <a:effectLst/>
              <a:uLnTx/>
              <a:uFillTx/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317" name="Google Shape;3317;p291"/>
          <p:cNvSpPr txBox="1"/>
          <p:nvPr/>
        </p:nvSpPr>
        <p:spPr>
          <a:xfrm>
            <a:off x="417275" y="884575"/>
            <a:ext cx="7393800" cy="48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Exo Light"/>
                <a:ea typeface="Exo Light"/>
                <a:cs typeface="Exo Light"/>
                <a:sym typeface="Exo Light"/>
              </a:rPr>
              <a:t>We approach all of our engagements by focusing first on detailed discovery to fully understand the goals, landscape and stakeholder perspectives. We use that to define a desired end state and a plan to get there. We also have the team to help deliver the desired solution.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3318" name="Google Shape;3318;p291"/>
          <p:cNvSpPr/>
          <p:nvPr/>
        </p:nvSpPr>
        <p:spPr>
          <a:xfrm>
            <a:off x="1561500" y="2203975"/>
            <a:ext cx="1016100" cy="1016100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ISCOVER</a:t>
            </a:r>
            <a:endParaRPr kumimoji="0" sz="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19" name="Google Shape;3319;p291"/>
          <p:cNvSpPr/>
          <p:nvPr/>
        </p:nvSpPr>
        <p:spPr>
          <a:xfrm>
            <a:off x="914400" y="1606725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Business Objectives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20" name="Google Shape;3320;p291"/>
          <p:cNvSpPr/>
          <p:nvPr/>
        </p:nvSpPr>
        <p:spPr>
          <a:xfrm>
            <a:off x="2577600" y="1606725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Use 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Cases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21" name="Google Shape;3321;p291"/>
          <p:cNvSpPr/>
          <p:nvPr/>
        </p:nvSpPr>
        <p:spPr>
          <a:xfrm>
            <a:off x="91440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Market Research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22" name="Google Shape;3322;p291"/>
          <p:cNvSpPr/>
          <p:nvPr/>
        </p:nvSpPr>
        <p:spPr>
          <a:xfrm>
            <a:off x="257760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Current State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cxnSp>
        <p:nvCxnSpPr>
          <p:cNvPr id="3323" name="Google Shape;3323;p291"/>
          <p:cNvCxnSpPr>
            <a:stCxn id="3319" idx="5"/>
            <a:endCxn id="3318" idx="1"/>
          </p:cNvCxnSpPr>
          <p:nvPr/>
        </p:nvCxnSpPr>
        <p:spPr>
          <a:xfrm>
            <a:off x="1466734" y="2159059"/>
            <a:ext cx="243600" cy="1938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24" name="Google Shape;3324;p291"/>
          <p:cNvCxnSpPr>
            <a:stCxn id="3320" idx="3"/>
            <a:endCxn id="3318" idx="7"/>
          </p:cNvCxnSpPr>
          <p:nvPr/>
        </p:nvCxnSpPr>
        <p:spPr>
          <a:xfrm flipH="1">
            <a:off x="2428766" y="2159059"/>
            <a:ext cx="243600" cy="1938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25" name="Google Shape;3325;p291"/>
          <p:cNvCxnSpPr>
            <a:stCxn id="3321" idx="7"/>
            <a:endCxn id="3318" idx="3"/>
          </p:cNvCxnSpPr>
          <p:nvPr/>
        </p:nvCxnSpPr>
        <p:spPr>
          <a:xfrm rot="10800000" flipH="1">
            <a:off x="1466734" y="3071216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26" name="Google Shape;3326;p291"/>
          <p:cNvCxnSpPr>
            <a:stCxn id="3318" idx="5"/>
            <a:endCxn id="3322" idx="1"/>
          </p:cNvCxnSpPr>
          <p:nvPr/>
        </p:nvCxnSpPr>
        <p:spPr>
          <a:xfrm>
            <a:off x="2428796" y="3071271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27" name="Google Shape;3327;p291"/>
          <p:cNvSpPr/>
          <p:nvPr/>
        </p:nvSpPr>
        <p:spPr>
          <a:xfrm>
            <a:off x="7026000" y="2203975"/>
            <a:ext cx="1016100" cy="10161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8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ELIVER</a:t>
            </a:r>
            <a:endParaRPr kumimoji="0" sz="6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28" name="Google Shape;3328;p291"/>
          <p:cNvSpPr/>
          <p:nvPr/>
        </p:nvSpPr>
        <p:spPr>
          <a:xfrm>
            <a:off x="6378900" y="1606725"/>
            <a:ext cx="795900" cy="6765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Change Management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29" name="Google Shape;3329;p291"/>
          <p:cNvSpPr/>
          <p:nvPr/>
        </p:nvSpPr>
        <p:spPr>
          <a:xfrm>
            <a:off x="8042100" y="1606725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Training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30" name="Google Shape;3330;p291"/>
          <p:cNvSpPr/>
          <p:nvPr/>
        </p:nvSpPr>
        <p:spPr>
          <a:xfrm>
            <a:off x="637890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User Feedback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31" name="Google Shape;3331;p291"/>
          <p:cNvSpPr/>
          <p:nvPr/>
        </p:nvSpPr>
        <p:spPr>
          <a:xfrm>
            <a:off x="804210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cxnSp>
        <p:nvCxnSpPr>
          <p:cNvPr id="3332" name="Google Shape;3332;p291"/>
          <p:cNvCxnSpPr>
            <a:stCxn id="3328" idx="5"/>
            <a:endCxn id="3327" idx="1"/>
          </p:cNvCxnSpPr>
          <p:nvPr/>
        </p:nvCxnSpPr>
        <p:spPr>
          <a:xfrm>
            <a:off x="7058243" y="2184154"/>
            <a:ext cx="116700" cy="168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33" name="Google Shape;3333;p291"/>
          <p:cNvCxnSpPr>
            <a:stCxn id="3329" idx="3"/>
            <a:endCxn id="3327" idx="7"/>
          </p:cNvCxnSpPr>
          <p:nvPr/>
        </p:nvCxnSpPr>
        <p:spPr>
          <a:xfrm flipH="1">
            <a:off x="7893266" y="2159059"/>
            <a:ext cx="243600" cy="1938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34" name="Google Shape;3334;p291"/>
          <p:cNvCxnSpPr>
            <a:stCxn id="3330" idx="7"/>
            <a:endCxn id="3327" idx="3"/>
          </p:cNvCxnSpPr>
          <p:nvPr/>
        </p:nvCxnSpPr>
        <p:spPr>
          <a:xfrm rot="10800000" flipH="1">
            <a:off x="6931234" y="3071216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35" name="Google Shape;3335;p291"/>
          <p:cNvCxnSpPr>
            <a:stCxn id="3327" idx="5"/>
            <a:endCxn id="3331" idx="1"/>
          </p:cNvCxnSpPr>
          <p:nvPr/>
        </p:nvCxnSpPr>
        <p:spPr>
          <a:xfrm>
            <a:off x="7893296" y="3071271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36" name="Google Shape;3336;p291"/>
          <p:cNvSpPr/>
          <p:nvPr/>
        </p:nvSpPr>
        <p:spPr>
          <a:xfrm>
            <a:off x="4303050" y="2203975"/>
            <a:ext cx="1016100" cy="10161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EFINE</a:t>
            </a:r>
            <a:endParaRPr kumimoji="0" sz="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37" name="Google Shape;3337;p291"/>
          <p:cNvSpPr/>
          <p:nvPr/>
        </p:nvSpPr>
        <p:spPr>
          <a:xfrm>
            <a:off x="3655950" y="1606725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Target Operating Model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38" name="Google Shape;3338;p291"/>
          <p:cNvSpPr/>
          <p:nvPr/>
        </p:nvSpPr>
        <p:spPr>
          <a:xfrm>
            <a:off x="5319150" y="1606725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Iterative Plan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39" name="Google Shape;3339;p291"/>
          <p:cNvSpPr/>
          <p:nvPr/>
        </p:nvSpPr>
        <p:spPr>
          <a:xfrm>
            <a:off x="365595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40" name="Google Shape;3340;p291"/>
          <p:cNvSpPr/>
          <p:nvPr/>
        </p:nvSpPr>
        <p:spPr>
          <a:xfrm>
            <a:off x="5319150" y="3238050"/>
            <a:ext cx="647100" cy="64710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Mobilize Teams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cxnSp>
        <p:nvCxnSpPr>
          <p:cNvPr id="3341" name="Google Shape;3341;p291"/>
          <p:cNvCxnSpPr>
            <a:stCxn id="3337" idx="5"/>
            <a:endCxn id="3336" idx="1"/>
          </p:cNvCxnSpPr>
          <p:nvPr/>
        </p:nvCxnSpPr>
        <p:spPr>
          <a:xfrm>
            <a:off x="4208284" y="2159059"/>
            <a:ext cx="243600" cy="1938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42" name="Google Shape;3342;p291"/>
          <p:cNvCxnSpPr>
            <a:stCxn id="3338" idx="3"/>
            <a:endCxn id="3336" idx="7"/>
          </p:cNvCxnSpPr>
          <p:nvPr/>
        </p:nvCxnSpPr>
        <p:spPr>
          <a:xfrm flipH="1">
            <a:off x="5170316" y="2159059"/>
            <a:ext cx="243600" cy="1938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43" name="Google Shape;3343;p291"/>
          <p:cNvCxnSpPr>
            <a:stCxn id="3339" idx="7"/>
            <a:endCxn id="3336" idx="3"/>
          </p:cNvCxnSpPr>
          <p:nvPr/>
        </p:nvCxnSpPr>
        <p:spPr>
          <a:xfrm rot="10800000" flipH="1">
            <a:off x="4208284" y="3071216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44" name="Google Shape;3344;p291"/>
          <p:cNvCxnSpPr>
            <a:stCxn id="3336" idx="5"/>
            <a:endCxn id="3340" idx="1"/>
          </p:cNvCxnSpPr>
          <p:nvPr/>
        </p:nvCxnSpPr>
        <p:spPr>
          <a:xfrm>
            <a:off x="5170346" y="3071271"/>
            <a:ext cx="243600" cy="26160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45" name="Google Shape;3345;p291"/>
          <p:cNvSpPr txBox="1"/>
          <p:nvPr/>
        </p:nvSpPr>
        <p:spPr>
          <a:xfrm>
            <a:off x="3691813" y="3257100"/>
            <a:ext cx="705600" cy="6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System Architecture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46" name="Google Shape;3346;p291"/>
          <p:cNvSpPr txBox="1"/>
          <p:nvPr/>
        </p:nvSpPr>
        <p:spPr>
          <a:xfrm>
            <a:off x="8022000" y="3257100"/>
            <a:ext cx="687300" cy="6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Iterate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47" name="Google Shape;3347;p291"/>
          <p:cNvSpPr/>
          <p:nvPr/>
        </p:nvSpPr>
        <p:spPr>
          <a:xfrm>
            <a:off x="3116788" y="2388463"/>
            <a:ext cx="647100" cy="6471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ALIGN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cxnSp>
        <p:nvCxnSpPr>
          <p:cNvPr id="3348" name="Google Shape;3348;p291"/>
          <p:cNvCxnSpPr>
            <a:stCxn id="3347" idx="2"/>
            <a:endCxn id="3318" idx="6"/>
          </p:cNvCxnSpPr>
          <p:nvPr/>
        </p:nvCxnSpPr>
        <p:spPr>
          <a:xfrm rot="10800000">
            <a:off x="2577688" y="2712013"/>
            <a:ext cx="539100" cy="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49" name="Google Shape;3349;p291"/>
          <p:cNvCxnSpPr>
            <a:stCxn id="3336" idx="2"/>
            <a:endCxn id="3347" idx="6"/>
          </p:cNvCxnSpPr>
          <p:nvPr/>
        </p:nvCxnSpPr>
        <p:spPr>
          <a:xfrm rot="10800000">
            <a:off x="3763950" y="2712025"/>
            <a:ext cx="539100" cy="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50" name="Google Shape;3350;p291"/>
          <p:cNvSpPr/>
          <p:nvPr/>
        </p:nvSpPr>
        <p:spPr>
          <a:xfrm>
            <a:off x="5849013" y="2388463"/>
            <a:ext cx="647100" cy="6471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ALIGN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cxnSp>
        <p:nvCxnSpPr>
          <p:cNvPr id="3351" name="Google Shape;3351;p291"/>
          <p:cNvCxnSpPr>
            <a:stCxn id="3350" idx="2"/>
            <a:endCxn id="3336" idx="6"/>
          </p:cNvCxnSpPr>
          <p:nvPr/>
        </p:nvCxnSpPr>
        <p:spPr>
          <a:xfrm rot="10800000">
            <a:off x="5319213" y="2712013"/>
            <a:ext cx="529800" cy="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352" name="Google Shape;3352;p291"/>
          <p:cNvCxnSpPr>
            <a:stCxn id="3327" idx="2"/>
            <a:endCxn id="3350" idx="6"/>
          </p:cNvCxnSpPr>
          <p:nvPr/>
        </p:nvCxnSpPr>
        <p:spPr>
          <a:xfrm rot="10800000">
            <a:off x="6496200" y="2712025"/>
            <a:ext cx="529800" cy="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53" name="Google Shape;3353;p291"/>
          <p:cNvSpPr txBox="1"/>
          <p:nvPr/>
        </p:nvSpPr>
        <p:spPr>
          <a:xfrm>
            <a:off x="894300" y="3942900"/>
            <a:ext cx="2330400" cy="6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0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iscover</a:t>
            </a:r>
            <a: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 current state and identify future opportunities.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54" name="Google Shape;3354;p291"/>
          <p:cNvSpPr txBox="1"/>
          <p:nvPr/>
        </p:nvSpPr>
        <p:spPr>
          <a:xfrm>
            <a:off x="3645900" y="3942900"/>
            <a:ext cx="2330400" cy="6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0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efine</a:t>
            </a:r>
            <a: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 Target Operating Model and implementation plan.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55" name="Google Shape;3355;p291"/>
          <p:cNvSpPr txBox="1"/>
          <p:nvPr/>
        </p:nvSpPr>
        <p:spPr>
          <a:xfrm>
            <a:off x="6397500" y="3942900"/>
            <a:ext cx="2330400" cy="6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Iteratively </a:t>
            </a:r>
            <a:r>
              <a:rPr kumimoji="0" lang="en" sz="10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deliver</a:t>
            </a:r>
            <a: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 </a:t>
            </a:r>
            <a:b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</a:br>
            <a:r>
              <a:rPr kumimoji="0" lang="en" sz="1000" b="0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with confidence.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3356" name="Google Shape;3356;p291"/>
          <p:cNvPicPr preferRelativeResize="0"/>
          <p:nvPr/>
        </p:nvPicPr>
        <p:blipFill rotWithShape="1">
          <a:blip r:embed="rId5">
            <a:alphaModFix/>
          </a:blip>
          <a:srcRect l="8426" t="20305" r="12075" b="18588"/>
          <a:stretch/>
        </p:blipFill>
        <p:spPr>
          <a:xfrm>
            <a:off x="7287650" y="3332875"/>
            <a:ext cx="492800" cy="378801"/>
          </a:xfrm>
          <a:prstGeom prst="rect">
            <a:avLst/>
          </a:prstGeom>
          <a:noFill/>
          <a:ln>
            <a:noFill/>
          </a:ln>
        </p:spPr>
      </p:pic>
      <p:sp>
        <p:nvSpPr>
          <p:cNvPr id="3357" name="Google Shape;3357;p291"/>
          <p:cNvSpPr txBox="1"/>
          <p:nvPr/>
        </p:nvSpPr>
        <p:spPr>
          <a:xfrm>
            <a:off x="7083625" y="3672300"/>
            <a:ext cx="939900" cy="19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700" b="1" i="0" u="none" strike="noStrike" kern="0" cap="none" spc="0" normalizeH="0" baseline="0" noProof="0">
                <a:ln>
                  <a:noFill/>
                </a:ln>
                <a:solidFill>
                  <a:srgbClr val="23213A"/>
                </a:solidFill>
                <a:effectLst/>
                <a:uLnTx/>
                <a:uFillTx/>
                <a:latin typeface="Exo"/>
                <a:ea typeface="Exo"/>
                <a:cs typeface="Exo"/>
                <a:sym typeface="Exo"/>
              </a:rPr>
              <a:t>Agile Sprints</a:t>
            </a:r>
            <a:endParaRPr kumimoji="0" sz="700" b="1" i="0" u="none" strike="noStrike" kern="0" cap="none" spc="0" normalizeH="0" baseline="0" noProof="0">
              <a:ln>
                <a:noFill/>
              </a:ln>
              <a:solidFill>
                <a:srgbClr val="23213A"/>
              </a:solidFill>
              <a:effectLst/>
              <a:uLnTx/>
              <a:uFillTx/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358" name="Google Shape;3358;p291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23213A"/>
      </a:dk1>
      <a:lt1>
        <a:srgbClr val="FFFFFF"/>
      </a:lt1>
      <a:dk2>
        <a:srgbClr val="4B4662"/>
      </a:dk2>
      <a:lt2>
        <a:srgbClr val="D6D0E8"/>
      </a:lt2>
      <a:accent1>
        <a:srgbClr val="34237E"/>
      </a:accent1>
      <a:accent2>
        <a:srgbClr val="FFD10F"/>
      </a:accent2>
      <a:accent3>
        <a:srgbClr val="02EAEA"/>
      </a:accent3>
      <a:accent4>
        <a:srgbClr val="E90A6D"/>
      </a:accent4>
      <a:accent5>
        <a:srgbClr val="981CBC"/>
      </a:accent5>
      <a:accent6>
        <a:srgbClr val="EFEFEF"/>
      </a:accent6>
      <a:hlink>
        <a:srgbClr val="E90A6D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8A805B9F-DDF0-4BB6-9558-A8E9FFE9DD10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108</Words>
  <Application>Microsoft Office PowerPoint</Application>
  <PresentationFormat>On-screen Show (16:9)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Exo SemiBold</vt:lpstr>
      <vt:lpstr>Playfair Display SemiBold</vt:lpstr>
      <vt:lpstr>Arial</vt:lpstr>
      <vt:lpstr>Exo Light</vt:lpstr>
      <vt:lpstr>Exo</vt:lpstr>
      <vt:lpstr>Nunito Light</vt:lpstr>
      <vt:lpstr>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37:09Z</dcterms:modified>
</cp:coreProperties>
</file>